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1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74.xml" ContentType="application/vnd.openxmlformats-officedocument.presentationml.tags+xml"/>
  <Override PartName="/ppt/notesSlides/notesSlide111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1" r:id="rId11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11.xml" Id="rId11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1.xml.rels>&#65279;<?xml version="1.0" encoding="utf-8"?><Relationships xmlns="http://schemas.openxmlformats.org/package/2006/relationships"><Relationship Type="http://schemas.openxmlformats.org/officeDocument/2006/relationships/slide" Target="/ppt/slides/slide111.xml" Id="rId2" /><Relationship Type="http://schemas.openxmlformats.org/officeDocument/2006/relationships/notesMaster" Target="/ppt/notesMasters/notesMaster1.xml" Id="rId1" /></Relationship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03350-D68E-390C-C3E2-6B1BEB1C5D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443532-3760-C759-9F45-5E6BFE38E1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A5EB89-B37E-8932-7873-6E72E3243C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A1C9F7-67D6-54C3-0192-A2D183D811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9223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74.xml" Id="rId2" /><Relationship Type="http://schemas.openxmlformats.org/officeDocument/2006/relationships/vmlDrawing" Target="/ppt/drawings/vmlDrawing11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5.bin" Id="rId5" /><Relationship Type="http://schemas.openxmlformats.org/officeDocument/2006/relationships/notesSlide" Target="/ppt/notesSlides/notesSlide111.xml" Id="rId4" /></Relationships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35AE6D7-24DE-0F15-5800-15666615B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B844A13-2368-72C7-008F-C7C177D54C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34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844A13-2368-72C7-008F-C7C177D5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34DEAC2-FDA7-7660-5F33-CAF1149F5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Ladder to goal II</a:t>
            </a:r>
            <a:endParaRPr lang="en-US"/>
          </a:p>
        </p:txBody>
      </p:sp>
      <p:grpSp>
        <p:nvGrpSpPr>
          <p:cNvPr id="43" name="Grafik 12">
            <a:extLst>
              <a:ext uri="{FF2B5EF4-FFF2-40B4-BE49-F238E27FC236}">
                <a16:creationId xmlns:a16="http://schemas.microsoft.com/office/drawing/2014/main" id="{CEB29E90-4472-F99B-4757-D968101460C5}"/>
              </a:ext>
            </a:extLst>
          </p:cNvPr>
          <p:cNvGrpSpPr>
            <a:grpSpLocks/>
          </p:cNvGrpSpPr>
          <p:nvPr/>
        </p:nvGrpSpPr>
        <p:grpSpPr>
          <a:xfrm>
            <a:off x="5746222" y="1537644"/>
            <a:ext cx="743824" cy="743821"/>
            <a:chOff x="5733176" y="3048001"/>
            <a:chExt cx="743824" cy="743821"/>
          </a:xfrm>
          <a:solidFill>
            <a:schemeClr val="accent1"/>
          </a:solidFill>
        </p:grpSpPr>
        <p:sp>
          <p:nvSpPr>
            <p:cNvPr id="44" name="Freihandform: Form 16">
              <a:extLst>
                <a:ext uri="{FF2B5EF4-FFF2-40B4-BE49-F238E27FC236}">
                  <a16:creationId xmlns:a16="http://schemas.microsoft.com/office/drawing/2014/main" id="{547CCD67-B9B0-E716-A52D-8E8769777AD8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17">
              <a:extLst>
                <a:ext uri="{FF2B5EF4-FFF2-40B4-BE49-F238E27FC236}">
                  <a16:creationId xmlns:a16="http://schemas.microsoft.com/office/drawing/2014/main" id="{CCDC436C-3429-4CC6-BF0F-E03A6001FF3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18">
              <a:extLst>
                <a:ext uri="{FF2B5EF4-FFF2-40B4-BE49-F238E27FC236}">
                  <a16:creationId xmlns:a16="http://schemas.microsoft.com/office/drawing/2014/main" id="{68EFDFCC-27C9-F1AE-7693-11FDFF72BD2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19">
              <a:extLst>
                <a:ext uri="{FF2B5EF4-FFF2-40B4-BE49-F238E27FC236}">
                  <a16:creationId xmlns:a16="http://schemas.microsoft.com/office/drawing/2014/main" id="{0460E113-AC4F-DFB3-49CE-B543EAE84BB5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4" name="Subtitle 2">
            <a:extLst>
              <a:ext uri="{FF2B5EF4-FFF2-40B4-BE49-F238E27FC236}">
                <a16:creationId xmlns:a16="http://schemas.microsoft.com/office/drawing/2014/main" id="{862FDDDE-FE6A-B6D9-2322-7F2432F70A06}"/>
              </a:ext>
            </a:extLst>
          </p:cNvPr>
          <p:cNvSpPr txBox="1">
            <a:spLocks/>
          </p:cNvSpPr>
          <p:nvPr/>
        </p:nvSpPr>
        <p:spPr>
          <a:xfrm>
            <a:off x="6672796" y="1783357"/>
            <a:ext cx="5147614" cy="29933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</p:txBody>
      </p:sp>
      <p:cxnSp>
        <p:nvCxnSpPr>
          <p:cNvPr id="55" name="MIO_ARROW1">
            <a:extLst>
              <a:ext uri="{FF2B5EF4-FFF2-40B4-BE49-F238E27FC236}">
                <a16:creationId xmlns:a16="http://schemas.microsoft.com/office/drawing/2014/main" id="{8938B42F-DF39-D186-6DEC-F0144BC2C10E}"/>
              </a:ext>
            </a:extLst>
          </p:cNvPr>
          <p:cNvCxnSpPr>
            <a:cxnSpLocks/>
          </p:cNvCxnSpPr>
          <p:nvPr/>
        </p:nvCxnSpPr>
        <p:spPr>
          <a:xfrm flipV="1">
            <a:off x="411066" y="2355280"/>
            <a:ext cx="5120608" cy="370262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MIO_ARROW1">
            <a:extLst>
              <a:ext uri="{FF2B5EF4-FFF2-40B4-BE49-F238E27FC236}">
                <a16:creationId xmlns:a16="http://schemas.microsoft.com/office/drawing/2014/main" id="{CB48DCEE-C887-B18C-4B76-2A2AA0CD9559}"/>
              </a:ext>
            </a:extLst>
          </p:cNvPr>
          <p:cNvCxnSpPr>
            <a:cxnSpLocks/>
          </p:cNvCxnSpPr>
          <p:nvPr/>
        </p:nvCxnSpPr>
        <p:spPr>
          <a:xfrm flipH="1" flipV="1">
            <a:off x="6704593" y="2355279"/>
            <a:ext cx="5120608" cy="370262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441846E-1FB3-F0A4-2359-3198F55B42C8}"/>
              </a:ext>
            </a:extLst>
          </p:cNvPr>
          <p:cNvGrpSpPr>
            <a:grpSpLocks/>
          </p:cNvGrpSpPr>
          <p:nvPr/>
        </p:nvGrpSpPr>
        <p:grpSpPr>
          <a:xfrm>
            <a:off x="2502632" y="3099189"/>
            <a:ext cx="7231004" cy="2958712"/>
            <a:chOff x="2918996" y="3479429"/>
            <a:chExt cx="6301707" cy="2578471"/>
          </a:xfrm>
        </p:grpSpPr>
        <p:sp>
          <p:nvSpPr>
            <p:cNvPr id="79" name="Rechteck 23">
              <a:extLst>
                <a:ext uri="{FF2B5EF4-FFF2-40B4-BE49-F238E27FC236}">
                  <a16:creationId xmlns:a16="http://schemas.microsoft.com/office/drawing/2014/main" id="{F687B341-A3D3-4A7B-62C4-823F0038319F}"/>
                </a:ext>
              </a:extLst>
            </p:cNvPr>
            <p:cNvSpPr>
              <a:spLocks/>
            </p:cNvSpPr>
            <p:nvPr/>
          </p:nvSpPr>
          <p:spPr>
            <a:xfrm>
              <a:off x="2919422" y="5510875"/>
              <a:ext cx="6300435" cy="547025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0" name="Rechteck 87">
              <a:extLst>
                <a:ext uri="{FF2B5EF4-FFF2-40B4-BE49-F238E27FC236}">
                  <a16:creationId xmlns:a16="http://schemas.microsoft.com/office/drawing/2014/main" id="{1E2BA0DB-E661-B870-1D2E-238346AEF741}"/>
                </a:ext>
              </a:extLst>
            </p:cNvPr>
            <p:cNvSpPr>
              <a:spLocks/>
            </p:cNvSpPr>
            <p:nvPr/>
          </p:nvSpPr>
          <p:spPr>
            <a:xfrm>
              <a:off x="3440808" y="4929020"/>
              <a:ext cx="5257664" cy="461340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  <a:defRPr/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1" name="Rechteck 90">
              <a:extLst>
                <a:ext uri="{FF2B5EF4-FFF2-40B4-BE49-F238E27FC236}">
                  <a16:creationId xmlns:a16="http://schemas.microsoft.com/office/drawing/2014/main" id="{B71172A5-5C85-16D3-1A13-25203C0CBC4A}"/>
                </a:ext>
              </a:extLst>
            </p:cNvPr>
            <p:cNvSpPr>
              <a:spLocks/>
            </p:cNvSpPr>
            <p:nvPr/>
          </p:nvSpPr>
          <p:spPr>
            <a:xfrm>
              <a:off x="3900852" y="4433512"/>
              <a:ext cx="4337574" cy="395434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  <a:defRPr/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2" name="Rechteck 108">
              <a:extLst>
                <a:ext uri="{FF2B5EF4-FFF2-40B4-BE49-F238E27FC236}">
                  <a16:creationId xmlns:a16="http://schemas.microsoft.com/office/drawing/2014/main" id="{34D77FB1-081C-3DFD-61D3-01097B121A77}"/>
                </a:ext>
              </a:extLst>
            </p:cNvPr>
            <p:cNvSpPr>
              <a:spLocks/>
            </p:cNvSpPr>
            <p:nvPr/>
          </p:nvSpPr>
          <p:spPr>
            <a:xfrm>
              <a:off x="4284163" y="4037030"/>
              <a:ext cx="3570952" cy="350763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  <a:defRPr/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3" name="Rechteck 113">
              <a:extLst>
                <a:ext uri="{FF2B5EF4-FFF2-40B4-BE49-F238E27FC236}">
                  <a16:creationId xmlns:a16="http://schemas.microsoft.com/office/drawing/2014/main" id="{51E6B568-1D8A-BA3B-5D3C-7B6DE4708FA5}"/>
                </a:ext>
              </a:extLst>
            </p:cNvPr>
            <p:cNvSpPr>
              <a:spLocks/>
            </p:cNvSpPr>
            <p:nvPr/>
          </p:nvSpPr>
          <p:spPr>
            <a:xfrm>
              <a:off x="4693885" y="3720741"/>
              <a:ext cx="2751511" cy="287748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  <a:defRPr/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4" name="Rechteck 114">
              <a:extLst>
                <a:ext uri="{FF2B5EF4-FFF2-40B4-BE49-F238E27FC236}">
                  <a16:creationId xmlns:a16="http://schemas.microsoft.com/office/drawing/2014/main" id="{517342F3-B1E2-3414-02E5-A1B6A55CB1AC}"/>
                </a:ext>
              </a:extLst>
            </p:cNvPr>
            <p:cNvSpPr>
              <a:spLocks/>
            </p:cNvSpPr>
            <p:nvPr/>
          </p:nvSpPr>
          <p:spPr>
            <a:xfrm>
              <a:off x="4998685" y="3479429"/>
              <a:ext cx="2143430" cy="230299"/>
            </a:xfrm>
            <a:prstGeom prst="rect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buClr>
                  <a:srgbClr val="000000"/>
                </a:buClr>
                <a:defRPr/>
              </a:pPr>
              <a:endParaRPr lang="en-US" altLang="de-DE" sz="1200">
                <a:solidFill>
                  <a:srgbClr val="000000"/>
                </a:solidFill>
              </a:endParaRPr>
            </a:p>
          </p:txBody>
        </p:sp>
        <p:sp>
          <p:nvSpPr>
            <p:cNvPr id="85" name="Freihandform 26">
              <a:extLst>
                <a:ext uri="{FF2B5EF4-FFF2-40B4-BE49-F238E27FC236}">
                  <a16:creationId xmlns:a16="http://schemas.microsoft.com/office/drawing/2014/main" id="{C7BA645D-FDC9-6796-092B-63F8EC7FD2DB}"/>
                </a:ext>
              </a:extLst>
            </p:cNvPr>
            <p:cNvSpPr>
              <a:spLocks/>
            </p:cNvSpPr>
            <p:nvPr/>
          </p:nvSpPr>
          <p:spPr>
            <a:xfrm>
              <a:off x="2918996" y="5390360"/>
              <a:ext cx="6301287" cy="120515"/>
            </a:xfrm>
            <a:custGeom>
              <a:avLst/>
              <a:gdLst>
                <a:gd name="connsiteX0" fmla="*/ 0 w 6032500"/>
                <a:gd name="connsiteY0" fmla="*/ 139700 h 139700"/>
                <a:gd name="connsiteX1" fmla="*/ 501650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2500" h="139700">
                  <a:moveTo>
                    <a:pt x="0" y="139700"/>
                  </a:moveTo>
                  <a:lnTo>
                    <a:pt x="501650" y="0"/>
                  </a:lnTo>
                  <a:lnTo>
                    <a:pt x="5537200" y="0"/>
                  </a:lnTo>
                  <a:lnTo>
                    <a:pt x="6032500" y="139700"/>
                  </a:lnTo>
                </a:path>
              </a:pathLst>
            </a:custGeom>
            <a:solidFill>
              <a:schemeClr val="bg2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86" name="Freihandform 115">
              <a:extLst>
                <a:ext uri="{FF2B5EF4-FFF2-40B4-BE49-F238E27FC236}">
                  <a16:creationId xmlns:a16="http://schemas.microsoft.com/office/drawing/2014/main" id="{D1AA06DA-4091-5EBC-A0E6-10A0F9907E4A}"/>
                </a:ext>
              </a:extLst>
            </p:cNvPr>
            <p:cNvSpPr>
              <a:spLocks/>
            </p:cNvSpPr>
            <p:nvPr/>
          </p:nvSpPr>
          <p:spPr>
            <a:xfrm>
              <a:off x="3440808" y="4828946"/>
              <a:ext cx="5257664" cy="100074"/>
            </a:xfrm>
            <a:custGeom>
              <a:avLst/>
              <a:gdLst>
                <a:gd name="connsiteX0" fmla="*/ 0 w 6032500"/>
                <a:gd name="connsiteY0" fmla="*/ 139700 h 139700"/>
                <a:gd name="connsiteX1" fmla="*/ 501650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47312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21979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8329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2082 h 139700"/>
                <a:gd name="connsiteX3" fmla="*/ 6032500 w 6032500"/>
                <a:gd name="connsiteY3" fmla="*/ 139700 h 139700"/>
                <a:gd name="connsiteX0" fmla="*/ 0 w 6032500"/>
                <a:gd name="connsiteY0" fmla="*/ 140510 h 140510"/>
                <a:gd name="connsiteX1" fmla="*/ 532091 w 6032500"/>
                <a:gd name="connsiteY1" fmla="*/ 810 h 140510"/>
                <a:gd name="connsiteX2" fmla="*/ 5502110 w 6032500"/>
                <a:gd name="connsiteY2" fmla="*/ 0 h 140510"/>
                <a:gd name="connsiteX3" fmla="*/ 6032500 w 6032500"/>
                <a:gd name="connsiteY3" fmla="*/ 140510 h 140510"/>
                <a:gd name="connsiteX0" fmla="*/ 0 w 6032500"/>
                <a:gd name="connsiteY0" fmla="*/ 143404 h 143404"/>
                <a:gd name="connsiteX1" fmla="*/ 532091 w 6032500"/>
                <a:gd name="connsiteY1" fmla="*/ 3704 h 143404"/>
                <a:gd name="connsiteX2" fmla="*/ 5502110 w 6032500"/>
                <a:gd name="connsiteY2" fmla="*/ 0 h 143404"/>
                <a:gd name="connsiteX3" fmla="*/ 6032500 w 6032500"/>
                <a:gd name="connsiteY3" fmla="*/ 143404 h 143404"/>
                <a:gd name="connsiteX0" fmla="*/ 0 w 6032500"/>
                <a:gd name="connsiteY0" fmla="*/ 143404 h 143404"/>
                <a:gd name="connsiteX1" fmla="*/ 529996 w 6032500"/>
                <a:gd name="connsiteY1" fmla="*/ 812 h 143404"/>
                <a:gd name="connsiteX2" fmla="*/ 5502110 w 6032500"/>
                <a:gd name="connsiteY2" fmla="*/ 0 h 143404"/>
                <a:gd name="connsiteX3" fmla="*/ 6032500 w 6032500"/>
                <a:gd name="connsiteY3" fmla="*/ 143404 h 143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2500" h="143404">
                  <a:moveTo>
                    <a:pt x="0" y="143404"/>
                  </a:moveTo>
                  <a:lnTo>
                    <a:pt x="529996" y="812"/>
                  </a:lnTo>
                  <a:lnTo>
                    <a:pt x="5502110" y="0"/>
                  </a:lnTo>
                  <a:lnTo>
                    <a:pt x="6032500" y="143404"/>
                  </a:lnTo>
                </a:path>
              </a:pathLst>
            </a:custGeom>
            <a:solidFill>
              <a:schemeClr val="bg2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87" name="Freihandform 116">
              <a:extLst>
                <a:ext uri="{FF2B5EF4-FFF2-40B4-BE49-F238E27FC236}">
                  <a16:creationId xmlns:a16="http://schemas.microsoft.com/office/drawing/2014/main" id="{A60F3A47-1F33-A194-01D7-6225936FB8C9}"/>
                </a:ext>
              </a:extLst>
            </p:cNvPr>
            <p:cNvSpPr>
              <a:spLocks/>
            </p:cNvSpPr>
            <p:nvPr/>
          </p:nvSpPr>
          <p:spPr>
            <a:xfrm>
              <a:off x="3900852" y="4387793"/>
              <a:ext cx="4337574" cy="45719"/>
            </a:xfrm>
            <a:custGeom>
              <a:avLst/>
              <a:gdLst>
                <a:gd name="connsiteX0" fmla="*/ 0 w 6032500"/>
                <a:gd name="connsiteY0" fmla="*/ 139700 h 139700"/>
                <a:gd name="connsiteX1" fmla="*/ 501650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47312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21979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8329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2082 h 139700"/>
                <a:gd name="connsiteX3" fmla="*/ 6032500 w 6032500"/>
                <a:gd name="connsiteY3" fmla="*/ 13970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2500" h="139700">
                  <a:moveTo>
                    <a:pt x="0" y="139700"/>
                  </a:moveTo>
                  <a:lnTo>
                    <a:pt x="532091" y="0"/>
                  </a:lnTo>
                  <a:lnTo>
                    <a:pt x="5491537" y="2082"/>
                  </a:lnTo>
                  <a:lnTo>
                    <a:pt x="6032500" y="139700"/>
                  </a:lnTo>
                </a:path>
              </a:pathLst>
            </a:custGeom>
            <a:solidFill>
              <a:schemeClr val="bg2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88" name="Freihandform 117">
              <a:extLst>
                <a:ext uri="{FF2B5EF4-FFF2-40B4-BE49-F238E27FC236}">
                  <a16:creationId xmlns:a16="http://schemas.microsoft.com/office/drawing/2014/main" id="{D5278281-0C5A-7F12-129D-E29B393F1C52}"/>
                </a:ext>
              </a:extLst>
            </p:cNvPr>
            <p:cNvSpPr>
              <a:spLocks/>
            </p:cNvSpPr>
            <p:nvPr/>
          </p:nvSpPr>
          <p:spPr>
            <a:xfrm>
              <a:off x="4284163" y="4008489"/>
              <a:ext cx="3570952" cy="28541"/>
            </a:xfrm>
            <a:custGeom>
              <a:avLst/>
              <a:gdLst>
                <a:gd name="connsiteX0" fmla="*/ 0 w 6032500"/>
                <a:gd name="connsiteY0" fmla="*/ 139700 h 139700"/>
                <a:gd name="connsiteX1" fmla="*/ 501650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47312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21979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8329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2082 h 139700"/>
                <a:gd name="connsiteX3" fmla="*/ 6032500 w 6032500"/>
                <a:gd name="connsiteY3" fmla="*/ 139700 h 139700"/>
                <a:gd name="connsiteX0" fmla="*/ 0 w 6032500"/>
                <a:gd name="connsiteY0" fmla="*/ 151250 h 151250"/>
                <a:gd name="connsiteX1" fmla="*/ 725379 w 6032500"/>
                <a:gd name="connsiteY1" fmla="*/ 0 h 151250"/>
                <a:gd name="connsiteX2" fmla="*/ 5491537 w 6032500"/>
                <a:gd name="connsiteY2" fmla="*/ 13632 h 151250"/>
                <a:gd name="connsiteX3" fmla="*/ 6032500 w 6032500"/>
                <a:gd name="connsiteY3" fmla="*/ 151250 h 151250"/>
                <a:gd name="connsiteX0" fmla="*/ 0 w 6032500"/>
                <a:gd name="connsiteY0" fmla="*/ 151250 h 151250"/>
                <a:gd name="connsiteX1" fmla="*/ 725379 w 6032500"/>
                <a:gd name="connsiteY1" fmla="*/ 0 h 151250"/>
                <a:gd name="connsiteX2" fmla="*/ 5361278 w 6032500"/>
                <a:gd name="connsiteY2" fmla="*/ 13630 h 151250"/>
                <a:gd name="connsiteX3" fmla="*/ 6032500 w 6032500"/>
                <a:gd name="connsiteY3" fmla="*/ 151250 h 15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2500" h="151250">
                  <a:moveTo>
                    <a:pt x="0" y="151250"/>
                  </a:moveTo>
                  <a:lnTo>
                    <a:pt x="725379" y="0"/>
                  </a:lnTo>
                  <a:lnTo>
                    <a:pt x="5361278" y="13630"/>
                  </a:lnTo>
                  <a:lnTo>
                    <a:pt x="6032500" y="151250"/>
                  </a:lnTo>
                </a:path>
              </a:pathLst>
            </a:custGeom>
            <a:solidFill>
              <a:schemeClr val="bg2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89" name="Freihandform 118">
              <a:extLst>
                <a:ext uri="{FF2B5EF4-FFF2-40B4-BE49-F238E27FC236}">
                  <a16:creationId xmlns:a16="http://schemas.microsoft.com/office/drawing/2014/main" id="{CBFA64D5-E299-819A-41AE-2D56F97A6FE1}"/>
                </a:ext>
              </a:extLst>
            </p:cNvPr>
            <p:cNvSpPr>
              <a:spLocks/>
            </p:cNvSpPr>
            <p:nvPr/>
          </p:nvSpPr>
          <p:spPr>
            <a:xfrm>
              <a:off x="4693884" y="3709728"/>
              <a:ext cx="2751511" cy="11013"/>
            </a:xfrm>
            <a:custGeom>
              <a:avLst/>
              <a:gdLst>
                <a:gd name="connsiteX0" fmla="*/ 0 w 6032500"/>
                <a:gd name="connsiteY0" fmla="*/ 139700 h 139700"/>
                <a:gd name="connsiteX1" fmla="*/ 501650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47312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37200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521979 w 6032500"/>
                <a:gd name="connsiteY2" fmla="*/ 0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8329 h 139700"/>
                <a:gd name="connsiteX3" fmla="*/ 6032500 w 6032500"/>
                <a:gd name="connsiteY3" fmla="*/ 139700 h 139700"/>
                <a:gd name="connsiteX0" fmla="*/ 0 w 6032500"/>
                <a:gd name="connsiteY0" fmla="*/ 139700 h 139700"/>
                <a:gd name="connsiteX1" fmla="*/ 532091 w 6032500"/>
                <a:gd name="connsiteY1" fmla="*/ 0 h 139700"/>
                <a:gd name="connsiteX2" fmla="*/ 5491537 w 6032500"/>
                <a:gd name="connsiteY2" fmla="*/ 2082 h 139700"/>
                <a:gd name="connsiteX3" fmla="*/ 6032500 w 6032500"/>
                <a:gd name="connsiteY3" fmla="*/ 139700 h 139700"/>
                <a:gd name="connsiteX0" fmla="*/ 0 w 6032500"/>
                <a:gd name="connsiteY0" fmla="*/ 151250 h 151250"/>
                <a:gd name="connsiteX1" fmla="*/ 725379 w 6032500"/>
                <a:gd name="connsiteY1" fmla="*/ 0 h 151250"/>
                <a:gd name="connsiteX2" fmla="*/ 5491537 w 6032500"/>
                <a:gd name="connsiteY2" fmla="*/ 13632 h 151250"/>
                <a:gd name="connsiteX3" fmla="*/ 6032500 w 6032500"/>
                <a:gd name="connsiteY3" fmla="*/ 151250 h 151250"/>
                <a:gd name="connsiteX0" fmla="*/ 0 w 6032500"/>
                <a:gd name="connsiteY0" fmla="*/ 151250 h 151250"/>
                <a:gd name="connsiteX1" fmla="*/ 725379 w 6032500"/>
                <a:gd name="connsiteY1" fmla="*/ 0 h 151250"/>
                <a:gd name="connsiteX2" fmla="*/ 5361278 w 6032500"/>
                <a:gd name="connsiteY2" fmla="*/ 13630 h 151250"/>
                <a:gd name="connsiteX3" fmla="*/ 6032500 w 6032500"/>
                <a:gd name="connsiteY3" fmla="*/ 151250 h 151250"/>
                <a:gd name="connsiteX0" fmla="*/ 0 w 6032500"/>
                <a:gd name="connsiteY0" fmla="*/ 168501 h 168501"/>
                <a:gd name="connsiteX1" fmla="*/ 725379 w 6032500"/>
                <a:gd name="connsiteY1" fmla="*/ 17251 h 168501"/>
                <a:gd name="connsiteX2" fmla="*/ 5371381 w 6032500"/>
                <a:gd name="connsiteY2" fmla="*/ 0 h 168501"/>
                <a:gd name="connsiteX3" fmla="*/ 6032500 w 6032500"/>
                <a:gd name="connsiteY3" fmla="*/ 168501 h 1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2500" h="168501">
                  <a:moveTo>
                    <a:pt x="0" y="168501"/>
                  </a:moveTo>
                  <a:lnTo>
                    <a:pt x="725379" y="17251"/>
                  </a:lnTo>
                  <a:lnTo>
                    <a:pt x="5371381" y="0"/>
                  </a:lnTo>
                  <a:lnTo>
                    <a:pt x="6032500" y="168501"/>
                  </a:lnTo>
                </a:path>
              </a:pathLst>
            </a:custGeom>
            <a:solidFill>
              <a:schemeClr val="bg2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128" name="Subtitle 2">
              <a:extLst>
                <a:ext uri="{FF2B5EF4-FFF2-40B4-BE49-F238E27FC236}">
                  <a16:creationId xmlns:a16="http://schemas.microsoft.com/office/drawing/2014/main" id="{4E3A90E6-B5D7-ABA1-13B7-51666F2B96B2}"/>
                </a:ext>
              </a:extLst>
            </p:cNvPr>
            <p:cNvSpPr txBox="1">
              <a:spLocks/>
            </p:cNvSpPr>
            <p:nvPr/>
          </p:nvSpPr>
          <p:spPr>
            <a:xfrm>
              <a:off x="6689507" y="3493446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  <p:sp>
          <p:nvSpPr>
            <p:cNvPr id="129" name="Subtitle 2">
              <a:extLst>
                <a:ext uri="{FF2B5EF4-FFF2-40B4-BE49-F238E27FC236}">
                  <a16:creationId xmlns:a16="http://schemas.microsoft.com/office/drawing/2014/main" id="{D544DDB9-3B10-EC9C-ABF7-656B2575E0B6}"/>
                </a:ext>
              </a:extLst>
            </p:cNvPr>
            <p:cNvSpPr txBox="1">
              <a:spLocks/>
            </p:cNvSpPr>
            <p:nvPr/>
          </p:nvSpPr>
          <p:spPr>
            <a:xfrm>
              <a:off x="6987042" y="3753476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  <p:sp>
          <p:nvSpPr>
            <p:cNvPr id="130" name="Subtitle 2">
              <a:extLst>
                <a:ext uri="{FF2B5EF4-FFF2-40B4-BE49-F238E27FC236}">
                  <a16:creationId xmlns:a16="http://schemas.microsoft.com/office/drawing/2014/main" id="{30C2D918-64C3-95EC-241A-D9B94A5060CB}"/>
                </a:ext>
              </a:extLst>
            </p:cNvPr>
            <p:cNvSpPr txBox="1">
              <a:spLocks/>
            </p:cNvSpPr>
            <p:nvPr/>
          </p:nvSpPr>
          <p:spPr>
            <a:xfrm>
              <a:off x="7402191" y="4104728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  <p:sp>
          <p:nvSpPr>
            <p:cNvPr id="131" name="Subtitle 2">
              <a:extLst>
                <a:ext uri="{FF2B5EF4-FFF2-40B4-BE49-F238E27FC236}">
                  <a16:creationId xmlns:a16="http://schemas.microsoft.com/office/drawing/2014/main" id="{FCF24474-A3D5-BCB0-0309-4215CF9AD36A}"/>
                </a:ext>
              </a:extLst>
            </p:cNvPr>
            <p:cNvSpPr txBox="1">
              <a:spLocks/>
            </p:cNvSpPr>
            <p:nvPr/>
          </p:nvSpPr>
          <p:spPr>
            <a:xfrm>
              <a:off x="7784343" y="4529596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  <p:sp>
          <p:nvSpPr>
            <p:cNvPr id="132" name="Subtitle 2">
              <a:extLst>
                <a:ext uri="{FF2B5EF4-FFF2-40B4-BE49-F238E27FC236}">
                  <a16:creationId xmlns:a16="http://schemas.microsoft.com/office/drawing/2014/main" id="{60AC97AC-A973-4914-B30E-5D4BA9A3CC94}"/>
                </a:ext>
              </a:extLst>
            </p:cNvPr>
            <p:cNvSpPr txBox="1">
              <a:spLocks/>
            </p:cNvSpPr>
            <p:nvPr/>
          </p:nvSpPr>
          <p:spPr>
            <a:xfrm>
              <a:off x="8246441" y="5076825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  <p:sp>
          <p:nvSpPr>
            <p:cNvPr id="133" name="Subtitle 2">
              <a:extLst>
                <a:ext uri="{FF2B5EF4-FFF2-40B4-BE49-F238E27FC236}">
                  <a16:creationId xmlns:a16="http://schemas.microsoft.com/office/drawing/2014/main" id="{73FEB844-F945-F77E-A50B-48D1C953E405}"/>
                </a:ext>
              </a:extLst>
            </p:cNvPr>
            <p:cNvSpPr txBox="1">
              <a:spLocks/>
            </p:cNvSpPr>
            <p:nvPr/>
          </p:nvSpPr>
          <p:spPr>
            <a:xfrm>
              <a:off x="8766696" y="5690183"/>
              <a:ext cx="454007" cy="214919"/>
            </a:xfrm>
            <a:prstGeom prst="rect">
              <a:avLst/>
            </a:prstGeom>
            <a:ln w="6350">
              <a:noFill/>
            </a:ln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1000" b="1">
                  <a:solidFill>
                    <a:schemeClr val="accent1"/>
                  </a:solidFill>
                  <a:latin typeface="+mn-lt"/>
                  <a:cs typeface="+mn-cs"/>
                  <a:sym typeface="Futura"/>
                </a:rPr>
                <a:t>Lorem</a:t>
              </a:r>
            </a:p>
          </p:txBody>
        </p:sp>
      </p:grpSp>
      <p:sp>
        <p:nvSpPr>
          <p:cNvPr id="4" name="Subtitle 2">
            <a:extLst>
              <a:ext uri="{FF2B5EF4-FFF2-40B4-BE49-F238E27FC236}">
                <a16:creationId xmlns:a16="http://schemas.microsoft.com/office/drawing/2014/main" id="{D3D5014B-D72C-458C-4481-D4BC337D233B}"/>
              </a:ext>
            </a:extLst>
          </p:cNvPr>
          <p:cNvSpPr txBox="1">
            <a:spLocks/>
          </p:cNvSpPr>
          <p:nvPr/>
        </p:nvSpPr>
        <p:spPr>
          <a:xfrm>
            <a:off x="9623000" y="2846627"/>
            <a:ext cx="2199739" cy="7078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800"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0FD8DBD-E2EB-9711-29B2-97DB343738FE}"/>
              </a:ext>
            </a:extLst>
          </p:cNvPr>
          <p:cNvSpPr txBox="1">
            <a:spLocks/>
          </p:cNvSpPr>
          <p:nvPr/>
        </p:nvSpPr>
        <p:spPr>
          <a:xfrm>
            <a:off x="413528" y="2846627"/>
            <a:ext cx="2199739" cy="7078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800"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239E055-B4DC-54AA-F427-E2D7DC6C629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7063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ladders, stair, stairs, goals, process, processes, plan, plans</a:t>
            </a:r>
          </a:p>
        </p:txBody>
      </p:sp>
    </p:spTree>
    <p:extLst>
      <p:ext uri="{BB962C8B-B14F-4D97-AF65-F5344CB8AC3E}">
        <p14:creationId xmlns:p14="http://schemas.microsoft.com/office/powerpoint/2010/main" val="1100815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